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5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9EEF00-1F5C-473B-B30C-4FC9F152EBBF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660167-B9A4-4B85-A3FE-9F324FD5F8D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49178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5316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9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815784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20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49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367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91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038455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7" imgW="349" imgH="350" progId="TCLayout.ActiveDocument.1">
                  <p:embed/>
                </p:oleObj>
              </mc:Choice>
              <mc:Fallback>
                <p:oleObj name="think-cell 幻灯片" r:id="rId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le 29">
            <a:extLst>
              <a:ext uri="{FF2B5EF4-FFF2-40B4-BE49-F238E27FC236}">
                <a16:creationId xmlns:a16="http://schemas.microsoft.com/office/drawing/2014/main" id="{396CB5E3-29A9-A21D-E3A3-540565CED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2" name="Gerade Verbindung 22">
            <a:extLst>
              <a:ext uri="{FF2B5EF4-FFF2-40B4-BE49-F238E27FC236}">
                <a16:creationId xmlns:a16="http://schemas.microsoft.com/office/drawing/2014/main" id="{9FC6AD0E-2B35-6C84-998F-691D01FFE956}"/>
              </a:ext>
            </a:extLst>
          </p:cNvPr>
          <p:cNvCxnSpPr>
            <a:cxnSpLocks/>
          </p:cNvCxnSpPr>
          <p:nvPr/>
        </p:nvCxnSpPr>
        <p:spPr bwMode="gray">
          <a:xfrm>
            <a:off x="419100" y="4304578"/>
            <a:ext cx="402647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22">
            <a:extLst>
              <a:ext uri="{FF2B5EF4-FFF2-40B4-BE49-F238E27FC236}">
                <a16:creationId xmlns:a16="http://schemas.microsoft.com/office/drawing/2014/main" id="{223D4673-D19A-0B15-2CE8-CDA85C0849CB}"/>
              </a:ext>
            </a:extLst>
          </p:cNvPr>
          <p:cNvCxnSpPr>
            <a:cxnSpLocks/>
          </p:cNvCxnSpPr>
          <p:nvPr/>
        </p:nvCxnSpPr>
        <p:spPr bwMode="gray">
          <a:xfrm>
            <a:off x="419100" y="2060039"/>
            <a:ext cx="494998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22">
            <a:extLst>
              <a:ext uri="{FF2B5EF4-FFF2-40B4-BE49-F238E27FC236}">
                <a16:creationId xmlns:a16="http://schemas.microsoft.com/office/drawing/2014/main" id="{AE1EB2C7-5BC4-EB54-D040-806DBDF0B3A0}"/>
              </a:ext>
            </a:extLst>
          </p:cNvPr>
          <p:cNvCxnSpPr>
            <a:cxnSpLocks/>
          </p:cNvCxnSpPr>
          <p:nvPr/>
        </p:nvCxnSpPr>
        <p:spPr bwMode="gray">
          <a:xfrm>
            <a:off x="6390072" y="2060039"/>
            <a:ext cx="5416873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2">
            <a:extLst>
              <a:ext uri="{FF2B5EF4-FFF2-40B4-BE49-F238E27FC236}">
                <a16:creationId xmlns:a16="http://schemas.microsoft.com/office/drawing/2014/main" id="{AE7987CF-AB70-314E-00ED-DE60F362F0FB}"/>
              </a:ext>
            </a:extLst>
          </p:cNvPr>
          <p:cNvCxnSpPr>
            <a:cxnSpLocks/>
          </p:cNvCxnSpPr>
          <p:nvPr/>
        </p:nvCxnSpPr>
        <p:spPr bwMode="gray">
          <a:xfrm>
            <a:off x="7677984" y="4304578"/>
            <a:ext cx="412896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52">
            <a:extLst>
              <a:ext uri="{FF2B5EF4-FFF2-40B4-BE49-F238E27FC236}">
                <a16:creationId xmlns:a16="http://schemas.microsoft.com/office/drawing/2014/main" id="{C7B7220A-99D7-E4AD-4F49-C728A5BD46D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217783" y="1727313"/>
            <a:ext cx="3794235" cy="3792649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6EA600"/>
              </a:solidFill>
              <a:effectLst/>
              <a:uLnTx/>
              <a:uFillTx/>
              <a:latin typeface="理想品牌字体 2022"/>
              <a:ea typeface="理想品牌字体 2022"/>
              <a:cs typeface="Arial" charset="0"/>
              <a:sym typeface="Futura"/>
            </a:endParaRPr>
          </a:p>
        </p:txBody>
      </p:sp>
      <p:grpSp>
        <p:nvGrpSpPr>
          <p:cNvPr id="9" name="Group 83">
            <a:extLst>
              <a:ext uri="{FF2B5EF4-FFF2-40B4-BE49-F238E27FC236}">
                <a16:creationId xmlns:a16="http://schemas.microsoft.com/office/drawing/2014/main" id="{B2CE9DEE-9186-BAD5-3E92-82E5EBB6D0EC}"/>
              </a:ext>
            </a:extLst>
          </p:cNvPr>
          <p:cNvGrpSpPr>
            <a:grpSpLocks/>
          </p:cNvGrpSpPr>
          <p:nvPr/>
        </p:nvGrpSpPr>
        <p:grpSpPr bwMode="auto">
          <a:xfrm>
            <a:off x="4295158" y="1811514"/>
            <a:ext cx="3639483" cy="3639483"/>
            <a:chOff x="3577" y="1695"/>
            <a:chExt cx="907" cy="907"/>
          </a:xfrm>
          <a:solidFill>
            <a:schemeClr val="bg2"/>
          </a:solidFill>
        </p:grpSpPr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FC45886-4C95-F336-9C6F-5BAE371A3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2158"/>
              <a:ext cx="442" cy="444"/>
            </a:xfrm>
            <a:custGeom>
              <a:avLst/>
              <a:gdLst>
                <a:gd name="T0" fmla="*/ 464 w 285"/>
                <a:gd name="T1" fmla="*/ 397 h 286"/>
                <a:gd name="T2" fmla="*/ 226 w 285"/>
                <a:gd name="T3" fmla="*/ 0 h 286"/>
                <a:gd name="T4" fmla="*/ 0 w 285"/>
                <a:gd name="T5" fmla="*/ 0 h 286"/>
                <a:gd name="T6" fmla="*/ 685 w 285"/>
                <a:gd name="T7" fmla="*/ 689 h 286"/>
                <a:gd name="T8" fmla="*/ 685 w 285"/>
                <a:gd name="T9" fmla="*/ 463 h 286"/>
                <a:gd name="T10" fmla="*/ 464 w 285"/>
                <a:gd name="T11" fmla="*/ 397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93" y="165"/>
                  </a:moveTo>
                  <a:cubicBezTo>
                    <a:pt x="132" y="130"/>
                    <a:pt x="97" y="66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56"/>
                    <a:pt x="129" y="282"/>
                    <a:pt x="285" y="286"/>
                  </a:cubicBezTo>
                  <a:cubicBezTo>
                    <a:pt x="285" y="192"/>
                    <a:pt x="285" y="192"/>
                    <a:pt x="285" y="192"/>
                  </a:cubicBezTo>
                  <a:cubicBezTo>
                    <a:pt x="254" y="190"/>
                    <a:pt x="222" y="182"/>
                    <a:pt x="193" y="165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E503B070-B182-7F0F-13D0-5F5353E452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1695"/>
              <a:ext cx="442" cy="442"/>
            </a:xfrm>
            <a:custGeom>
              <a:avLst/>
              <a:gdLst>
                <a:gd name="T0" fmla="*/ 292 w 285"/>
                <a:gd name="T1" fmla="*/ 464 h 285"/>
                <a:gd name="T2" fmla="*/ 685 w 285"/>
                <a:gd name="T3" fmla="*/ 226 h 285"/>
                <a:gd name="T4" fmla="*/ 685 w 285"/>
                <a:gd name="T5" fmla="*/ 0 h 285"/>
                <a:gd name="T6" fmla="*/ 0 w 285"/>
                <a:gd name="T7" fmla="*/ 685 h 285"/>
                <a:gd name="T8" fmla="*/ 226 w 285"/>
                <a:gd name="T9" fmla="*/ 685 h 285"/>
                <a:gd name="T10" fmla="*/ 292 w 285"/>
                <a:gd name="T11" fmla="*/ 464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121" y="193"/>
                  </a:moveTo>
                  <a:cubicBezTo>
                    <a:pt x="156" y="132"/>
                    <a:pt x="219" y="96"/>
                    <a:pt x="285" y="94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129" y="3"/>
                    <a:pt x="4" y="129"/>
                    <a:pt x="0" y="285"/>
                  </a:cubicBezTo>
                  <a:cubicBezTo>
                    <a:pt x="94" y="285"/>
                    <a:pt x="94" y="285"/>
                    <a:pt x="94" y="285"/>
                  </a:cubicBezTo>
                  <a:cubicBezTo>
                    <a:pt x="95" y="253"/>
                    <a:pt x="104" y="222"/>
                    <a:pt x="121" y="193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775A68CC-439D-8457-158B-8536132E01F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1695"/>
              <a:ext cx="442" cy="442"/>
            </a:xfrm>
            <a:custGeom>
              <a:avLst/>
              <a:gdLst>
                <a:gd name="T0" fmla="*/ 222 w 285"/>
                <a:gd name="T1" fmla="*/ 288 h 285"/>
                <a:gd name="T2" fmla="*/ 459 w 285"/>
                <a:gd name="T3" fmla="*/ 685 h 285"/>
                <a:gd name="T4" fmla="*/ 685 w 285"/>
                <a:gd name="T5" fmla="*/ 685 h 285"/>
                <a:gd name="T6" fmla="*/ 0 w 285"/>
                <a:gd name="T7" fmla="*/ 0 h 285"/>
                <a:gd name="T8" fmla="*/ 0 w 285"/>
                <a:gd name="T9" fmla="*/ 226 h 285"/>
                <a:gd name="T10" fmla="*/ 222 w 285"/>
                <a:gd name="T11" fmla="*/ 288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92" y="120"/>
                  </a:moveTo>
                  <a:cubicBezTo>
                    <a:pt x="153" y="156"/>
                    <a:pt x="188" y="219"/>
                    <a:pt x="191" y="285"/>
                  </a:cubicBezTo>
                  <a:cubicBezTo>
                    <a:pt x="285" y="285"/>
                    <a:pt x="285" y="285"/>
                    <a:pt x="285" y="285"/>
                  </a:cubicBezTo>
                  <a:cubicBezTo>
                    <a:pt x="281" y="129"/>
                    <a:pt x="156" y="3"/>
                    <a:pt x="0" y="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1" y="95"/>
                    <a:pt x="63" y="104"/>
                    <a:pt x="92" y="120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91D9D7E1-B764-0A5A-3E1E-6C162046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2158"/>
              <a:ext cx="442" cy="444"/>
            </a:xfrm>
            <a:custGeom>
              <a:avLst/>
              <a:gdLst>
                <a:gd name="T0" fmla="*/ 394 w 285"/>
                <a:gd name="T1" fmla="*/ 222 h 286"/>
                <a:gd name="T2" fmla="*/ 0 w 285"/>
                <a:gd name="T3" fmla="*/ 461 h 286"/>
                <a:gd name="T4" fmla="*/ 0 w 285"/>
                <a:gd name="T5" fmla="*/ 689 h 286"/>
                <a:gd name="T6" fmla="*/ 685 w 285"/>
                <a:gd name="T7" fmla="*/ 0 h 286"/>
                <a:gd name="T8" fmla="*/ 459 w 285"/>
                <a:gd name="T9" fmla="*/ 0 h 286"/>
                <a:gd name="T10" fmla="*/ 394 w 285"/>
                <a:gd name="T11" fmla="*/ 222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64" y="92"/>
                  </a:moveTo>
                  <a:cubicBezTo>
                    <a:pt x="129" y="154"/>
                    <a:pt x="66" y="189"/>
                    <a:pt x="0" y="191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156" y="282"/>
                    <a:pt x="282" y="156"/>
                    <a:pt x="28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0" y="32"/>
                    <a:pt x="181" y="63"/>
                    <a:pt x="164" y="92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06DD435B-C55A-20DA-D0E3-DA237B78A06E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4597681" y="2114356"/>
            <a:ext cx="3034438" cy="3037627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strength_summar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}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7D0ABDAF-1C4D-BDB8-BB8D-49DE6A369F98}"/>
              </a:ext>
            </a:extLst>
          </p:cNvPr>
          <p:cNvSpPr txBox="1">
            <a:spLocks/>
          </p:cNvSpPr>
          <p:nvPr/>
        </p:nvSpPr>
        <p:spPr bwMode="gray">
          <a:xfrm rot="2700000">
            <a:off x="4597681" y="2114354"/>
            <a:ext cx="3034438" cy="3037627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weakness_summar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}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B6E29AB8-40E8-8458-0A06-ADD18F2C0F5F}"/>
              </a:ext>
            </a:extLst>
          </p:cNvPr>
          <p:cNvSpPr txBox="1">
            <a:spLocks/>
          </p:cNvSpPr>
          <p:nvPr/>
        </p:nvSpPr>
        <p:spPr bwMode="gray">
          <a:xfrm rot="2700000">
            <a:off x="4597682" y="2114354"/>
            <a:ext cx="3034438" cy="3037627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opportunities_summar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}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42C76F9C-E8CA-EBAE-26DB-43EF8986FB37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4597682" y="2114355"/>
            <a:ext cx="3034438" cy="3037627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threat_summar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}</a:t>
            </a:r>
          </a:p>
        </p:txBody>
      </p:sp>
      <p:sp>
        <p:nvSpPr>
          <p:cNvPr id="19" name="Oval 52">
            <a:extLst>
              <a:ext uri="{FF2B5EF4-FFF2-40B4-BE49-F238E27FC236}">
                <a16:creationId xmlns:a16="http://schemas.microsoft.com/office/drawing/2014/main" id="{83FFE51F-6F0E-4CC6-7F88-890324C777F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955614" y="2464836"/>
            <a:ext cx="2318572" cy="2317603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charset="0"/>
                <a:sym typeface="Futura"/>
              </a:rPr>
              <a:t>SWOT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Arial" charset="0"/>
              <a:sym typeface="Futura"/>
            </a:endParaRPr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73F22173-8A15-99A3-1FDB-17776123E897}"/>
              </a:ext>
            </a:extLst>
          </p:cNvPr>
          <p:cNvSpPr txBox="1">
            <a:spLocks/>
          </p:cNvSpPr>
          <p:nvPr/>
        </p:nvSpPr>
        <p:spPr bwMode="gray">
          <a:xfrm>
            <a:off x="419101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zh-CN" altLang="en-US" sz="2000" cap="none" dirty="0">
                <a:solidFill>
                  <a:srgbClr val="1A7449"/>
                </a:solidFill>
                <a:latin typeface="理想品牌字体 2022"/>
              </a:rPr>
              <a:t>优势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21" name="Textplatzhalter 13">
            <a:extLst>
              <a:ext uri="{FF2B5EF4-FFF2-40B4-BE49-F238E27FC236}">
                <a16:creationId xmlns:a16="http://schemas.microsoft.com/office/drawing/2014/main" id="{18658AEA-B4EA-575A-A99C-44680E04B1CE}"/>
              </a:ext>
            </a:extLst>
          </p:cNvPr>
          <p:cNvSpPr txBox="1">
            <a:spLocks/>
          </p:cNvSpPr>
          <p:nvPr/>
        </p:nvSpPr>
        <p:spPr bwMode="gray">
          <a:xfrm>
            <a:off x="419101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机会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239ADE2F-C09D-FE1A-C099-A6C615752580}"/>
              </a:ext>
            </a:extLst>
          </p:cNvPr>
          <p:cNvSpPr txBox="1">
            <a:spLocks/>
          </p:cNvSpPr>
          <p:nvPr/>
        </p:nvSpPr>
        <p:spPr bwMode="gray">
          <a:xfrm>
            <a:off x="8353989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zh-CN" altLang="en-US" sz="2000" cap="none" dirty="0">
                <a:solidFill>
                  <a:srgbClr val="1A7449"/>
                </a:solidFill>
                <a:latin typeface="理想品牌字体 2022"/>
              </a:rPr>
              <a:t>劣势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C98293A0-267A-CBAA-2024-70A4D1FB9E20}"/>
              </a:ext>
            </a:extLst>
          </p:cNvPr>
          <p:cNvSpPr txBox="1">
            <a:spLocks/>
          </p:cNvSpPr>
          <p:nvPr/>
        </p:nvSpPr>
        <p:spPr bwMode="gray">
          <a:xfrm>
            <a:off x="8353989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威胁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2FB80A2A-38DC-CE24-8EB3-AE538529D5BB}"/>
              </a:ext>
            </a:extLst>
          </p:cNvPr>
          <p:cNvSpPr txBox="1">
            <a:spLocks/>
          </p:cNvSpPr>
          <p:nvPr/>
        </p:nvSpPr>
        <p:spPr>
          <a:xfrm>
            <a:off x="419101" y="2190391"/>
            <a:ext cx="345701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trength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57F195DF-8019-C638-ACE1-6D67E089B0E7}"/>
              </a:ext>
            </a:extLst>
          </p:cNvPr>
          <p:cNvSpPr txBox="1">
            <a:spLocks/>
          </p:cNvSpPr>
          <p:nvPr/>
        </p:nvSpPr>
        <p:spPr>
          <a:xfrm>
            <a:off x="419101" y="4460709"/>
            <a:ext cx="345701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opportunities}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39E6803F-8106-5679-1CB6-009C525BAD91}"/>
              </a:ext>
            </a:extLst>
          </p:cNvPr>
          <p:cNvSpPr txBox="1">
            <a:spLocks/>
          </p:cNvSpPr>
          <p:nvPr/>
        </p:nvSpPr>
        <p:spPr>
          <a:xfrm>
            <a:off x="8353989" y="2190391"/>
            <a:ext cx="345701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weakness}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74EB188E-2F9B-7C9D-1C25-75507259CC0A}"/>
              </a:ext>
            </a:extLst>
          </p:cNvPr>
          <p:cNvSpPr txBox="1">
            <a:spLocks/>
          </p:cNvSpPr>
          <p:nvPr/>
        </p:nvSpPr>
        <p:spPr>
          <a:xfrm>
            <a:off x="8353989" y="4460709"/>
            <a:ext cx="345701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rgbClr val="575757"/>
                </a:solidFill>
                <a:latin typeface="理想品牌字体 2022"/>
                <a:ea typeface="理想品牌字体 2022"/>
              </a:rPr>
              <a:t>{threat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43CB75CD-6368-EE64-13E1-7C8303D94C1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7497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strategy, matrix, strength, weakness, threat, opportunity,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5811844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7</Words>
  <Application>Microsoft Office PowerPoint</Application>
  <PresentationFormat>宽屏</PresentationFormat>
  <Paragraphs>1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6:15:42Z</dcterms:created>
  <dcterms:modified xsi:type="dcterms:W3CDTF">2025-09-05T06:17:30Z</dcterms:modified>
</cp:coreProperties>
</file>